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7"/>
  </p:notesMasterIdLst>
  <p:sldIdLst>
    <p:sldId id="270" r:id="rId4"/>
    <p:sldId id="289" r:id="rId5"/>
    <p:sldId id="301" r:id="rId6"/>
    <p:sldId id="299" r:id="rId7"/>
    <p:sldId id="294" r:id="rId8"/>
    <p:sldId id="290" r:id="rId9"/>
    <p:sldId id="300" r:id="rId10"/>
    <p:sldId id="292" r:id="rId11"/>
    <p:sldId id="293" r:id="rId12"/>
    <p:sldId id="296" r:id="rId13"/>
    <p:sldId id="298" r:id="rId14"/>
    <p:sldId id="297" r:id="rId15"/>
    <p:sldId id="3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1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6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5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en-US" altLang="zh-CN" sz="16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2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2910198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624394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6908062"/>
              </p:ext>
            </p:extLst>
          </p:nvPr>
        </p:nvGraphicFramePr>
        <p:xfrm>
          <a:off x="563446" y="1148019"/>
          <a:ext cx="11079992" cy="55409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0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87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2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7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52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49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695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06610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客户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前是否已有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0357673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4252154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6488177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9715701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576105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3933619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473952"/>
                  </a:ext>
                </a:extLst>
              </a:tr>
              <a:tr h="50884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474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013613"/>
              </p:ext>
            </p:extLst>
          </p:nvPr>
        </p:nvGraphicFramePr>
        <p:xfrm>
          <a:off x="544314" y="1551213"/>
          <a:ext cx="11048526" cy="933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678205"/>
              </p:ext>
            </p:extLst>
          </p:nvPr>
        </p:nvGraphicFramePr>
        <p:xfrm>
          <a:off x="544310" y="3164422"/>
          <a:ext cx="11048533" cy="3239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仿宋" panose="02010609060101010101" pitchFamily="49" charset="-122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accent1"/>
                        </a:solidFill>
                        <a:latin typeface="Bentley Light" panose="020B0404020201020102"/>
                        <a:ea typeface="仿宋" panose="02010609060101010101" pitchFamily="49" charset="-122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8310082"/>
              </p:ext>
            </p:extLst>
          </p:nvPr>
        </p:nvGraphicFramePr>
        <p:xfrm>
          <a:off x="539750" y="1254424"/>
          <a:ext cx="11079992" cy="54362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2412">
                  <a:extLst>
                    <a:ext uri="{9D8B030D-6E8A-4147-A177-3AD203B41FA5}">
                      <a16:colId xmlns:a16="http://schemas.microsoft.com/office/drawing/2014/main" val="1701192910"/>
                    </a:ext>
                  </a:extLst>
                </a:gridCol>
                <a:gridCol w="22924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951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7429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tartTime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开始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ndTim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结束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260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900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456389"/>
                  </a:ext>
                </a:extLst>
              </a:tr>
              <a:tr h="40900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8811563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788661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117639"/>
                  </a:ext>
                </a:extLst>
              </a:tr>
              <a:tr h="45467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417531"/>
                  </a:ext>
                </a:extLst>
              </a:tr>
              <a:tr h="40900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45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0632797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64047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314606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1</TotalTime>
  <Words>579</Words>
  <Application>Microsoft Office PowerPoint</Application>
  <PresentationFormat>宽屏</PresentationFormat>
  <Paragraphs>163</Paragraphs>
  <Slides>13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6" baseType="lpstr">
      <vt:lpstr>Bentley</vt:lpstr>
      <vt:lpstr>Bentley Light</vt:lpstr>
      <vt:lpstr>Bentley SemiBold</vt:lpstr>
      <vt:lpstr>ＭＳ Ｐゴシック</vt:lpstr>
      <vt:lpstr>仿宋</vt:lpstr>
      <vt:lpstr>黑体</vt:lpstr>
      <vt:lpstr>Arial</vt:lpstr>
      <vt:lpstr>Calibri</vt:lpstr>
      <vt:lpstr>Gill Sans MT</vt:lpstr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PowerPoint 演示文稿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70</cp:revision>
  <dcterms:created xsi:type="dcterms:W3CDTF">2022-02-15T07:41:51Z</dcterms:created>
  <dcterms:modified xsi:type="dcterms:W3CDTF">2022-04-26T14:40:20Z</dcterms:modified>
</cp:coreProperties>
</file>